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2.xml" ContentType="application/vnd.openxmlformats-officedocument.presentationml.tags+xml"/>
  <Override PartName="/ppt/notesSlides/notesSlide2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6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2"/>
  </p:notesMasterIdLst>
  <p:handoutMasterIdLst>
    <p:handoutMasterId r:id="rId103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434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>
        <p:scale>
          <a:sx n="100" d="100"/>
          <a:sy n="100" d="100"/>
        </p:scale>
        <p:origin x="1356" y="28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viewProps" Target="viewProps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presProps" Target="pres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tableStyles" Target="tableStyles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65521F-8CA8-4B1C-8CC1-DEFF5C964B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F498BA7-D6DA-4366-9C31-B8ADF4202DD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558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60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jpg"/><Relationship Id="rId5" Type="http://schemas.openxmlformats.org/officeDocument/2006/relationships/vmlDrawing" Target="../drawings/vmlDrawing1.vml"/><Relationship Id="rId15" Type="http://schemas.openxmlformats.org/officeDocument/2006/relationships/image" Target="../media/image8.png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png"/><Relationship Id="rId14" Type="http://schemas.openxmlformats.org/officeDocument/2006/relationships/image" Target="../media/image7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2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3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  <p:sldLayoutId id="2147493610" r:id="rId2"/>
    <p:sldLayoutId id="2147493611" r:id="rId3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comments" Target="../comments/commen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comments" Target="../comments/commen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0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0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0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comments" Target="../comments/commen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Relationship Id="rId4" Type="http://schemas.openxmlformats.org/officeDocument/2006/relationships/comments" Target="../comments/commen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0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2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49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5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37588" y="-28575"/>
            <a:ext cx="506412" cy="5048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37588" y="-28575"/>
            <a:ext cx="506412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37588" y="-28575"/>
            <a:ext cx="506412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37588" y="-28575"/>
            <a:ext cx="506412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37588" y="-28575"/>
            <a:ext cx="506412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345</TotalTime>
  <Words>4069</Words>
  <Application>Microsoft Office PowerPoint</Application>
  <PresentationFormat>On-screen Show (4:3)</PresentationFormat>
  <Paragraphs>1269</Paragraphs>
  <Slides>96</Slides>
  <Notes>56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48</cp:revision>
  <cp:lastPrinted>2015-07-29T21:30:37Z</cp:lastPrinted>
  <dcterms:created xsi:type="dcterms:W3CDTF">2017-09-21T08:49:16Z</dcterms:created>
  <dcterms:modified xsi:type="dcterms:W3CDTF">2019-07-06T08:47:1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